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C6D9DF5B-7111-4130-B9FA-F8306DB1D923}">
          <p14:sldIdLst>
            <p14:sldId id="2147475173"/>
            <p14:sldId id="2147475174"/>
            <p14:sldId id="2147475175"/>
            <p14:sldId id="2147475176"/>
            <p14:sldId id="2147475177"/>
            <p14:sldId id="2147475178"/>
            <p14:sldId id="2147475179"/>
            <p14:sldId id="2147475180"/>
            <p14:sldId id="2147475181"/>
          </p14:sldIdLst>
        </p14:section>
        <p14:section name="Brackets By Segment" id="{7B504040-AE33-46DB-B04B-FA52B5AD321E}">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518955279431492</c:v>
                </c:pt>
                <c:pt idx="2">
                  <c:v>0.026748528103130033</c:v>
                </c:pt>
                <c:pt idx="3">
                  <c:v>0.017738871908622212</c:v>
                </c:pt>
                <c:pt idx="4">
                  <c:v>0.038962499809080925</c:v>
                </c:pt>
                <c:pt idx="5">
                  <c:v>0.0200973573811866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076137648858728</c:v>
                </c:pt>
                <c:pt idx="3">
                  <c:v>0.0028464121465069</c:v>
                </c:pt>
                <c:pt idx="4">
                  <c:v>0.009889994684662</c:v>
                </c:pt>
                <c:pt idx="5">
                  <c:v>0.004599235585753925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344325814417547</c:v>
                </c:pt>
                <c:pt idx="2">
                  <c:v>0.0058957019694024755</c:v>
                </c:pt>
                <c:pt idx="3">
                  <c:v>0.04493711263754733</c:v>
                </c:pt>
                <c:pt idx="4">
                  <c:v>0.07914095235738502</c:v>
                </c:pt>
                <c:pt idx="5">
                  <c:v>0.0089972147205530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06264720838437259</c:v>
                </c:pt>
                <c:pt idx="5">
                  <c:v>0.000626194625080153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3186121541121</c:v>
                </c:pt>
                <c:pt idx="1">
                  <c:v>0.0017956631581104022</c:v>
                </c:pt>
                <c:pt idx="2">
                  <c:v>0.022428915630840058</c:v>
                </c:pt>
                <c:pt idx="3">
                  <c:v>0.02590914694351975</c:v>
                </c:pt>
                <c:pt idx="4">
                  <c:v>0.08706995555541162</c:v>
                </c:pt>
                <c:pt idx="5">
                  <c:v>0.089266411328213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864528133334014</c:v>
                </c:pt>
                <c:pt idx="1">
                  <c:v>0.017347053176599053</c:v>
                </c:pt>
                <c:pt idx="2">
                  <c:v>0.05524766126191519</c:v>
                </c:pt>
                <c:pt idx="3">
                  <c:v>0.12418483344288508</c:v>
                </c:pt>
                <c:pt idx="4">
                  <c:v>0.053045513081651514</c:v>
                </c:pt>
                <c:pt idx="5">
                  <c:v>0.002691774985996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339716295489567</c:v>
                </c:pt>
                <c:pt idx="3">
                  <c:v>0.03171961632532166</c:v>
                </c:pt>
                <c:pt idx="4">
                  <c:v>0.10207651841148084</c:v>
                </c:pt>
                <c:pt idx="5">
                  <c:v>0.027354674724396223</c:v>
                </c:pt>
                <c:pt idx="6">
                  <c:v>0.00068874828226008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3814396798164</c:v>
                </c:pt>
                <c:pt idx="4">
                  <c:v>0.03151583487096663</c:v>
                </c:pt>
                <c:pt idx="5">
                  <c:v>0.0025778607955745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91487935956933</c:v>
                </c:pt>
                <c:pt idx="2">
                  <c:v>0.025978112991852095</c:v>
                </c:pt>
                <c:pt idx="3">
                  <c:v>0.015274807708583062</c:v>
                </c:pt>
                <c:pt idx="4">
                  <c:v>0.0318726815160332</c:v>
                </c:pt>
                <c:pt idx="5">
                  <c:v>0.0260401043899816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415630760324449</c:v>
                </c:pt>
                <c:pt idx="3">
                  <c:v>0.0023115914163032367</c:v>
                </c:pt>
                <c:pt idx="4">
                  <c:v>0.008588010342971342</c:v>
                </c:pt>
                <c:pt idx="5">
                  <c:v>0.00632257814273603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73777723146574</c:v>
                </c:pt>
                <c:pt idx="2">
                  <c:v>0.00640698550196531</c:v>
                </c:pt>
                <c:pt idx="3">
                  <c:v>0.036592648911372955</c:v>
                </c:pt>
                <c:pt idx="4">
                  <c:v>0.08338157559369325</c:v>
                </c:pt>
                <c:pt idx="5">
                  <c:v>0.0082819800345621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10839135870922081</c:v>
                </c:pt>
                <c:pt idx="5">
                  <c:v>0.000902142071776838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7276261820488</c:v>
                </c:pt>
                <c:pt idx="2">
                  <c:v>0.022144441686385772</c:v>
                </c:pt>
                <c:pt idx="3">
                  <c:v>0.02752848130203805</c:v>
                </c:pt>
                <c:pt idx="4">
                  <c:v>0.10623702527118975</c:v>
                </c:pt>
                <c:pt idx="5">
                  <c:v>0.0826609365675835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470125819718284</c:v>
                </c:pt>
                <c:pt idx="1">
                  <c:v>0.011348628536789822</c:v>
                </c:pt>
                <c:pt idx="2">
                  <c:v>0.04843378125432535</c:v>
                </c:pt>
                <c:pt idx="3">
                  <c:v>0.12296846649224863</c:v>
                </c:pt>
                <c:pt idx="4">
                  <c:v>0.05719467852359774</c:v>
                </c:pt>
                <c:pt idx="5">
                  <c:v>0.00342209729841614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29276326602</c:v>
                </c:pt>
                <c:pt idx="2">
                  <c:v>0.11804540682611504</c:v>
                </c:pt>
                <c:pt idx="3">
                  <c:v>0.22786137714233431</c:v>
                </c:pt>
                <c:pt idx="4">
                  <c:v>0.40096378169939534</c:v>
                </c:pt>
                <c:pt idx="5">
                  <c:v>0.15725300405649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4937113036050477</c:v>
                </c:pt>
                <c:pt idx="3">
                  <c:v>0.02451230509368555</c:v>
                </c:pt>
                <c:pt idx="4">
                  <c:v>0.0950116795023239</c:v>
                </c:pt>
                <c:pt idx="5">
                  <c:v>0.0327916744490978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84667634406077</c:v>
                </c:pt>
                <c:pt idx="4">
                  <c:v>0.027266141292557482</c:v>
                </c:pt>
                <c:pt idx="5">
                  <c:v>0.0040562113168560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9415630760324449</c:v>
                </c:pt>
                <c:pt idx="3">
                  <c:v>0.0023115914163032367</c:v>
                </c:pt>
                <c:pt idx="4">
                  <c:v>0.009671923930063551</c:v>
                </c:pt>
                <c:pt idx="5">
                  <c:v>0.00722472021451286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24163299437931142</c:v>
                </c:pt>
                <c:pt idx="3">
                  <c:v>0.023816952890393213</c:v>
                </c:pt>
                <c:pt idx="4">
                  <c:v>0.04097137526364538</c:v>
                </c:pt>
                <c:pt idx="5">
                  <c:v>0.0226385828977281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518013580659397</c:v>
                </c:pt>
                <c:pt idx="3">
                  <c:v>0.004195062034680129</c:v>
                </c:pt>
                <c:pt idx="4">
                  <c:v>0.01053520936723857</c:v>
                </c:pt>
                <c:pt idx="5">
                  <c:v>0.0054196786830826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2762804001013118</c:v>
                </c:pt>
                <c:pt idx="2">
                  <c:v>0.010534711689142716</c:v>
                </c:pt>
                <c:pt idx="3">
                  <c:v>0.04777469013154917</c:v>
                </c:pt>
                <c:pt idx="4">
                  <c:v>0.0848287614091687</c:v>
                </c:pt>
                <c:pt idx="5">
                  <c:v>0.0090989006242070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0835812954811300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7866585090829588</c:v>
                </c:pt>
                <c:pt idx="3">
                  <c:v>0.02318330295843443</c:v>
                </c:pt>
                <c:pt idx="4">
                  <c:v>0.07887530995708958</c:v>
                </c:pt>
                <c:pt idx="5">
                  <c:v>0.0793879281542142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63668255412755</c:v>
                </c:pt>
                <c:pt idx="4">
                  <c:v>0.0009246232684919877</c:v>
                </c:pt>
                <c:pt idx="5">
                  <c:v>0.0235720892585656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96793095715029</c:v>
                </c:pt>
                <c:pt idx="1">
                  <c:v>0.018544136411159002</c:v>
                </c:pt>
                <c:pt idx="2">
                  <c:v>0.06005351958681268</c:v>
                </c:pt>
                <c:pt idx="3">
                  <c:v>0.12128078368751723</c:v>
                </c:pt>
                <c:pt idx="4">
                  <c:v>0.05140841843967606</c:v>
                </c:pt>
                <c:pt idx="5">
                  <c:v>0.0038395409703490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90090463077596</c:v>
                </c:pt>
                <c:pt idx="2">
                  <c:v>0.015657997043759583</c:v>
                </c:pt>
                <c:pt idx="3">
                  <c:v>0.030781251984715038</c:v>
                </c:pt>
                <c:pt idx="4">
                  <c:v>0.09193529560216666</c:v>
                </c:pt>
                <c:pt idx="5">
                  <c:v>0.017322284641066832</c:v>
                </c:pt>
                <c:pt idx="6">
                  <c:v>0.004835389960957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84471148795715</c:v>
                </c:pt>
                <c:pt idx="4">
                  <c:v>0.029492080306963948</c:v>
                </c:pt>
                <c:pt idx="5">
                  <c:v>0.00319135753687205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518955279431492</c:v>
                </c:pt>
                <c:pt idx="2">
                  <c:v>0.026748528103130033</c:v>
                </c:pt>
                <c:pt idx="3">
                  <c:v>0.017738871908622212</c:v>
                </c:pt>
                <c:pt idx="4">
                  <c:v>0.038962499809080925</c:v>
                </c:pt>
                <c:pt idx="5">
                  <c:v>0.0200973573811866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997685155103</c:v>
                </c:pt>
                <c:pt idx="2">
                  <c:v>0.0064019192653766085</c:v>
                </c:pt>
                <c:pt idx="3">
                  <c:v>0.004033184543276768</c:v>
                </c:pt>
                <c:pt idx="4">
                  <c:v>0.007857000075846162</c:v>
                </c:pt>
                <c:pt idx="5">
                  <c:v>0.00156492832167182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344325814417547</c:v>
                </c:pt>
                <c:pt idx="2">
                  <c:v>0.0058957019694024755</c:v>
                </c:pt>
                <c:pt idx="3">
                  <c:v>0.04493711263754733</c:v>
                </c:pt>
                <c:pt idx="4">
                  <c:v>0.07914095235738502</c:v>
                </c:pt>
                <c:pt idx="5">
                  <c:v>0.0089972147205530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3186121541121</c:v>
                </c:pt>
                <c:pt idx="1">
                  <c:v>0.0017956631581104022</c:v>
                </c:pt>
                <c:pt idx="2">
                  <c:v>0.022428915630840058</c:v>
                </c:pt>
                <c:pt idx="3">
                  <c:v>0.02590914694351975</c:v>
                </c:pt>
                <c:pt idx="4">
                  <c:v>0.08706995555541162</c:v>
                </c:pt>
                <c:pt idx="5">
                  <c:v>0.089266411328213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864528133334014</c:v>
                </c:pt>
                <c:pt idx="1">
                  <c:v>0.017347053176599053</c:v>
                </c:pt>
                <c:pt idx="2">
                  <c:v>0.05524766126191519</c:v>
                </c:pt>
                <c:pt idx="3">
                  <c:v>0.12418483344288508</c:v>
                </c:pt>
                <c:pt idx="4">
                  <c:v>0.053045513081651514</c:v>
                </c:pt>
                <c:pt idx="5">
                  <c:v>0.002691774985996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339716295489567</c:v>
                </c:pt>
                <c:pt idx="3">
                  <c:v>0.03171961632532166</c:v>
                </c:pt>
                <c:pt idx="4">
                  <c:v>0.10207651841148084</c:v>
                </c:pt>
                <c:pt idx="5">
                  <c:v>0.027354674724396223</c:v>
                </c:pt>
                <c:pt idx="6">
                  <c:v>0.00068874828226008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3814396798164</c:v>
                </c:pt>
                <c:pt idx="4">
                  <c:v>0.03151583487096663</c:v>
                </c:pt>
                <c:pt idx="5">
                  <c:v>0.0025778607955745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91487935956933</c:v>
                </c:pt>
                <c:pt idx="2">
                  <c:v>0.025978112991852095</c:v>
                </c:pt>
                <c:pt idx="3">
                  <c:v>0.015274807708583062</c:v>
                </c:pt>
                <c:pt idx="4">
                  <c:v>0.0318726815160332</c:v>
                </c:pt>
                <c:pt idx="5">
                  <c:v>0.0260401043899816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60967392666346</c:v>
                </c:pt>
                <c:pt idx="2">
                  <c:v>0.00820403978298163</c:v>
                </c:pt>
                <c:pt idx="3">
                  <c:v>0.0010193177824681543</c:v>
                </c:pt>
                <c:pt idx="4">
                  <c:v>0.01020270724266415</c:v>
                </c:pt>
                <c:pt idx="5">
                  <c:v>0.002158204920902876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73777723146574</c:v>
                </c:pt>
                <c:pt idx="2">
                  <c:v>0.00640698550196531</c:v>
                </c:pt>
                <c:pt idx="3">
                  <c:v>0.036592648911372955</c:v>
                </c:pt>
                <c:pt idx="4">
                  <c:v>0.08338157559369325</c:v>
                </c:pt>
                <c:pt idx="5">
                  <c:v>0.0082819800345621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7276261820488</c:v>
                </c:pt>
                <c:pt idx="2">
                  <c:v>0.022144441686385772</c:v>
                </c:pt>
                <c:pt idx="3">
                  <c:v>0.02752848130203805</c:v>
                </c:pt>
                <c:pt idx="4">
                  <c:v>0.10623702527118975</c:v>
                </c:pt>
                <c:pt idx="5">
                  <c:v>0.0826609365675835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470125819718284</c:v>
                </c:pt>
                <c:pt idx="1">
                  <c:v>0.011348628536789822</c:v>
                </c:pt>
                <c:pt idx="2">
                  <c:v>0.04843378125432535</c:v>
                </c:pt>
                <c:pt idx="3">
                  <c:v>0.12296846649224863</c:v>
                </c:pt>
                <c:pt idx="4">
                  <c:v>0.05719467852359774</c:v>
                </c:pt>
                <c:pt idx="5">
                  <c:v>0.00342209729841614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4937113036050477</c:v>
                </c:pt>
                <c:pt idx="3">
                  <c:v>0.02451230509368555</c:v>
                </c:pt>
                <c:pt idx="4">
                  <c:v>0.0950116795023239</c:v>
                </c:pt>
                <c:pt idx="5">
                  <c:v>0.0327916744490978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22257158449823</c:v>
                </c:pt>
                <c:pt idx="1">
                  <c:v>0.03636797733600861</c:v>
                </c:pt>
                <c:pt idx="2">
                  <c:v>0.12183221813150324</c:v>
                </c:pt>
                <c:pt idx="3">
                  <c:v>0.24557339565469422</c:v>
                </c:pt>
                <c:pt idx="4">
                  <c:v>0.39181127408597655</c:v>
                </c:pt>
                <c:pt idx="5">
                  <c:v>0.15098529393592028</c:v>
                </c:pt>
                <c:pt idx="6">
                  <c:v>0.00072942708194318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84667634406077</c:v>
                </c:pt>
                <c:pt idx="4">
                  <c:v>0.027266141292557482</c:v>
                </c:pt>
                <c:pt idx="5">
                  <c:v>0.0040562113168560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24163299437931142</c:v>
                </c:pt>
                <c:pt idx="3">
                  <c:v>0.023816952890393213</c:v>
                </c:pt>
                <c:pt idx="4">
                  <c:v>0.04097137526364538</c:v>
                </c:pt>
                <c:pt idx="5">
                  <c:v>0.0226385828977281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07993022488040152</c:v>
                </c:pt>
                <c:pt idx="3">
                  <c:v>0.0034426589528947196</c:v>
                </c:pt>
                <c:pt idx="4">
                  <c:v>0.01223501914523722</c:v>
                </c:pt>
                <c:pt idx="5">
                  <c:v>0.00074609428004089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2762804001013118</c:v>
                </c:pt>
                <c:pt idx="2">
                  <c:v>0.010534711689142716</c:v>
                </c:pt>
                <c:pt idx="3">
                  <c:v>0.04777469013154917</c:v>
                </c:pt>
                <c:pt idx="4">
                  <c:v>0.0848287614091687</c:v>
                </c:pt>
                <c:pt idx="5">
                  <c:v>0.0090989006242070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7866585090829588</c:v>
                </c:pt>
                <c:pt idx="3">
                  <c:v>0.02318330295843443</c:v>
                </c:pt>
                <c:pt idx="4">
                  <c:v>0.07887530995708958</c:v>
                </c:pt>
                <c:pt idx="5">
                  <c:v>0.0793879281542142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96793095715029</c:v>
                </c:pt>
                <c:pt idx="1">
                  <c:v>0.018544136411159002</c:v>
                </c:pt>
                <c:pt idx="2">
                  <c:v>0.06005351958681268</c:v>
                </c:pt>
                <c:pt idx="3">
                  <c:v>0.12128078368751723</c:v>
                </c:pt>
                <c:pt idx="4">
                  <c:v>0.05140841843967606</c:v>
                </c:pt>
                <c:pt idx="5">
                  <c:v>0.0038395409703490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90090463077596</c:v>
                </c:pt>
                <c:pt idx="2">
                  <c:v>0.015657997043759583</c:v>
                </c:pt>
                <c:pt idx="3">
                  <c:v>0.030781251984715038</c:v>
                </c:pt>
                <c:pt idx="4">
                  <c:v>0.09193529560216666</c:v>
                </c:pt>
                <c:pt idx="5">
                  <c:v>0.017322284641066832</c:v>
                </c:pt>
                <c:pt idx="6">
                  <c:v>0.004835389960957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84471148795715</c:v>
                </c:pt>
                <c:pt idx="4">
                  <c:v>0.029492080306963948</c:v>
                </c:pt>
                <c:pt idx="5">
                  <c:v>0.00319135753687205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518955279431492</c:v>
                </c:pt>
                <c:pt idx="2">
                  <c:v>0.026748528103130033</c:v>
                </c:pt>
                <c:pt idx="3">
                  <c:v>0.017738871908622212</c:v>
                </c:pt>
                <c:pt idx="4">
                  <c:v>0.038962499809080925</c:v>
                </c:pt>
                <c:pt idx="5">
                  <c:v>0.02009735738118668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344325814417547</c:v>
                </c:pt>
                <c:pt idx="2">
                  <c:v>0.0058957019694024755</c:v>
                </c:pt>
                <c:pt idx="3">
                  <c:v>0.04493711263754733</c:v>
                </c:pt>
                <c:pt idx="4">
                  <c:v>0.07914095235738502</c:v>
                </c:pt>
                <c:pt idx="5">
                  <c:v>0.00899721472055300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82166374765753</c:v>
                </c:pt>
                <c:pt idx="4">
                  <c:v>0.009805396993042064</c:v>
                </c:pt>
                <c:pt idx="5">
                  <c:v>0.00229895341422245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693186121541121</c:v>
                </c:pt>
                <c:pt idx="1">
                  <c:v>0.0017956631581104022</c:v>
                </c:pt>
                <c:pt idx="2">
                  <c:v>0.022428915630840058</c:v>
                </c:pt>
                <c:pt idx="3">
                  <c:v>0.02590914694351975</c:v>
                </c:pt>
                <c:pt idx="4">
                  <c:v>0.08706995555541162</c:v>
                </c:pt>
                <c:pt idx="5">
                  <c:v>0.0892664113282136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545206000412591</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8864528133334014</c:v>
                </c:pt>
                <c:pt idx="1">
                  <c:v>0.017347053176599053</c:v>
                </c:pt>
                <c:pt idx="2">
                  <c:v>0.05524766126191519</c:v>
                </c:pt>
                <c:pt idx="3">
                  <c:v>0.12418483344288508</c:v>
                </c:pt>
                <c:pt idx="4">
                  <c:v>0.053045513081651514</c:v>
                </c:pt>
                <c:pt idx="5">
                  <c:v>0.00269177498599618</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786587581822</c:v>
                </c:pt>
                <c:pt idx="1">
                  <c:v>0.03378225415551858</c:v>
                </c:pt>
                <c:pt idx="2">
                  <c:v>0.12828871256157567</c:v>
                </c:pt>
                <c:pt idx="3">
                  <c:v>0.24831542876748866</c:v>
                </c:pt>
                <c:pt idx="4">
                  <c:v>0.3775112409787103</c:v>
                </c:pt>
                <c:pt idx="5">
                  <c:v>0.1354785948244373</c:v>
                </c:pt>
                <c:pt idx="6">
                  <c:v>0.0048820968876138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1339716295489567</c:v>
                </c:pt>
                <c:pt idx="3">
                  <c:v>0.03171961632532166</c:v>
                </c:pt>
                <c:pt idx="4">
                  <c:v>0.10207651841148084</c:v>
                </c:pt>
                <c:pt idx="5">
                  <c:v>0.027354674724396223</c:v>
                </c:pt>
                <c:pt idx="6">
                  <c:v>0.000688748282260085</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083814396798164</c:v>
                </c:pt>
                <c:pt idx="4">
                  <c:v>0.03151583487096663</c:v>
                </c:pt>
                <c:pt idx="5">
                  <c:v>0.0025778607955745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518013580659397</c:v>
                </c:pt>
                <c:pt idx="3">
                  <c:v>0.004195062034680129</c:v>
                </c:pt>
                <c:pt idx="4">
                  <c:v>0.011005025621720703</c:v>
                </c:pt>
                <c:pt idx="5">
                  <c:v>0.00625549163789390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91487935956933</c:v>
                </c:pt>
                <c:pt idx="2">
                  <c:v>0.025978112991852095</c:v>
                </c:pt>
                <c:pt idx="3">
                  <c:v>0.015274807708583062</c:v>
                </c:pt>
                <c:pt idx="4">
                  <c:v>0.0318726815160332</c:v>
                </c:pt>
                <c:pt idx="5">
                  <c:v>0.0260401043899816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573777723146574</c:v>
                </c:pt>
                <c:pt idx="2">
                  <c:v>0.00640698550196531</c:v>
                </c:pt>
                <c:pt idx="3">
                  <c:v>0.036592648911372955</c:v>
                </c:pt>
                <c:pt idx="4">
                  <c:v>0.08338157559369325</c:v>
                </c:pt>
                <c:pt idx="5">
                  <c:v>0.0082819800345621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6286091035014</c:v>
                </c:pt>
                <c:pt idx="4">
                  <c:v>0.01030577826057263</c:v>
                </c:pt>
                <c:pt idx="5">
                  <c:v>0.002144093955464706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047276261820488</c:v>
                </c:pt>
                <c:pt idx="2">
                  <c:v>0.022144441686385772</c:v>
                </c:pt>
                <c:pt idx="3">
                  <c:v>0.02752848130203805</c:v>
                </c:pt>
                <c:pt idx="4">
                  <c:v>0.10623702527118975</c:v>
                </c:pt>
                <c:pt idx="5">
                  <c:v>0.08266093656758351</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978470315461395</c:v>
                </c:pt>
                <c:pt idx="4">
                  <c:v>0.0019773970547572925</c:v>
                </c:pt>
                <c:pt idx="5">
                  <c:v>0.0280664212246241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01051627728278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470125819718284</c:v>
                </c:pt>
                <c:pt idx="1">
                  <c:v>0.011348628536789822</c:v>
                </c:pt>
                <c:pt idx="2">
                  <c:v>0.04843378125432535</c:v>
                </c:pt>
                <c:pt idx="3">
                  <c:v>0.12296846649224863</c:v>
                </c:pt>
                <c:pt idx="4">
                  <c:v>0.05719467852359774</c:v>
                </c:pt>
                <c:pt idx="5">
                  <c:v>0.003422097298416149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4937113036050477</c:v>
                </c:pt>
                <c:pt idx="3">
                  <c:v>0.02451230509368555</c:v>
                </c:pt>
                <c:pt idx="4">
                  <c:v>0.0950116795023239</c:v>
                </c:pt>
                <c:pt idx="5">
                  <c:v>0.03279167444909787</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0984667634406077</c:v>
                </c:pt>
                <c:pt idx="4">
                  <c:v>0.027266141292557482</c:v>
                </c:pt>
                <c:pt idx="5">
                  <c:v>0.0040562113168560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24163299437931142</c:v>
                </c:pt>
                <c:pt idx="3">
                  <c:v>0.023816952890393213</c:v>
                </c:pt>
                <c:pt idx="4">
                  <c:v>0.04097137526364538</c:v>
                </c:pt>
                <c:pt idx="5">
                  <c:v>0.02263858289772811</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2762804001013118</c:v>
                </c:pt>
                <c:pt idx="2">
                  <c:v>0.010534711689142716</c:v>
                </c:pt>
                <c:pt idx="3">
                  <c:v>0.04777469013154917</c:v>
                </c:pt>
                <c:pt idx="4">
                  <c:v>0.0848287614091687</c:v>
                </c:pt>
                <c:pt idx="5">
                  <c:v>0.0090989006242070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626735540544363</c:v>
                </c:pt>
                <c:pt idx="4">
                  <c:v>0.013328920479123485</c:v>
                </c:pt>
                <c:pt idx="5">
                  <c:v>0.00382616709132215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17866585090829588</c:v>
                </c:pt>
                <c:pt idx="3">
                  <c:v>0.02318330295843443</c:v>
                </c:pt>
                <c:pt idx="4">
                  <c:v>0.07887530995708958</c:v>
                </c:pt>
                <c:pt idx="5">
                  <c:v>0.07938792815421425</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2918277011759206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596793095715029</c:v>
                </c:pt>
                <c:pt idx="1">
                  <c:v>0.018544136411159002</c:v>
                </c:pt>
                <c:pt idx="2">
                  <c:v>0.06005351958681268</c:v>
                </c:pt>
                <c:pt idx="3">
                  <c:v>0.12128078368751723</c:v>
                </c:pt>
                <c:pt idx="4">
                  <c:v>0.05140841843967606</c:v>
                </c:pt>
                <c:pt idx="5">
                  <c:v>0.00383954097034900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290090463077596</c:v>
                </c:pt>
                <c:pt idx="2">
                  <c:v>0.015657997043759583</c:v>
                </c:pt>
                <c:pt idx="3">
                  <c:v>0.030781251984715038</c:v>
                </c:pt>
                <c:pt idx="4">
                  <c:v>0.09193529560216666</c:v>
                </c:pt>
                <c:pt idx="5">
                  <c:v>0.017322284641066832</c:v>
                </c:pt>
                <c:pt idx="6">
                  <c:v>0.00483538996095780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14784471148795715</c:v>
                </c:pt>
                <c:pt idx="4">
                  <c:v>0.029492080306963948</c:v>
                </c:pt>
                <c:pt idx="5">
                  <c:v>0.0031913575368720513</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076137648858728</c:v>
                </c:pt>
                <c:pt idx="3">
                  <c:v>0.0028464121465069</c:v>
                </c:pt>
                <c:pt idx="4">
                  <c:v>0.010516466768505726</c:v>
                </c:pt>
                <c:pt idx="5">
                  <c:v>0.0052254302108340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22257158449823</c:v>
                </c:pt>
                <c:pt idx="1">
                  <c:v>0.03636797733600861</c:v>
                </c:pt>
                <c:pt idx="2">
                  <c:v>0.12183221813150324</c:v>
                </c:pt>
                <c:pt idx="3">
                  <c:v>0.24557339565469422</c:v>
                </c:pt>
                <c:pt idx="4">
                  <c:v>0.39181127408597655</c:v>
                </c:pt>
                <c:pt idx="5">
                  <c:v>0.15098529393592028</c:v>
                </c:pt>
                <c:pt idx="6">
                  <c:v>0.00072942708194318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81997685155103</c:v>
                </c:pt>
                <c:pt idx="2">
                  <c:v>0.0064019192653766085</c:v>
                </c:pt>
                <c:pt idx="3">
                  <c:v>0.004033184543276768</c:v>
                </c:pt>
                <c:pt idx="4">
                  <c:v>0.007857000075846162</c:v>
                </c:pt>
                <c:pt idx="5">
                  <c:v>0.001564928321671820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2457786780451735</c:v>
                </c:pt>
                <c:pt idx="4">
                  <c:v>0.001129680431727277</c:v>
                </c:pt>
                <c:pt idx="5">
                  <c:v>0.0214525015761030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2457786780451735</c:v>
                </c:pt>
                <c:pt idx="4">
                  <c:v>0.001129680431727277</c:v>
                </c:pt>
                <c:pt idx="5">
                  <c:v>0.0214525015761030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29276326602</c:v>
                </c:pt>
                <c:pt idx="2">
                  <c:v>0.11804540682611504</c:v>
                </c:pt>
                <c:pt idx="3">
                  <c:v>0.22786137714233431</c:v>
                </c:pt>
                <c:pt idx="4">
                  <c:v>0.40096378169939534</c:v>
                </c:pt>
                <c:pt idx="5">
                  <c:v>0.15725300405649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660967392666346</c:v>
                </c:pt>
                <c:pt idx="2">
                  <c:v>0.00820403978298163</c:v>
                </c:pt>
                <c:pt idx="3">
                  <c:v>0.0010193177824681543</c:v>
                </c:pt>
                <c:pt idx="4">
                  <c:v>0.01020270724266415</c:v>
                </c:pt>
                <c:pt idx="5">
                  <c:v>0.002158204920902876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63668255412755</c:v>
                </c:pt>
                <c:pt idx="4">
                  <c:v>0.0009246232684919877</c:v>
                </c:pt>
                <c:pt idx="5">
                  <c:v>0.0235720892585656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786587581822</c:v>
                </c:pt>
                <c:pt idx="1">
                  <c:v>0.03378225415551858</c:v>
                </c:pt>
                <c:pt idx="2">
                  <c:v>0.12828871256157567</c:v>
                </c:pt>
                <c:pt idx="3">
                  <c:v>0.24831542876748866</c:v>
                </c:pt>
                <c:pt idx="4">
                  <c:v>0.3775112409787103</c:v>
                </c:pt>
                <c:pt idx="5">
                  <c:v>0.1354785948244373</c:v>
                </c:pt>
                <c:pt idx="6">
                  <c:v>0.0048820968876138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2269923294306317</c:v>
                </c:pt>
                <c:pt idx="2">
                  <c:v>0.007993022488040152</c:v>
                </c:pt>
                <c:pt idx="3">
                  <c:v>0.0034426589528947196</c:v>
                </c:pt>
                <c:pt idx="4">
                  <c:v>0.01223501914523722</c:v>
                </c:pt>
                <c:pt idx="5">
                  <c:v>0.000746094280040894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978470315461395</c:v>
                </c:pt>
                <c:pt idx="4">
                  <c:v>0.0019773970547572925</c:v>
                </c:pt>
                <c:pt idx="5">
                  <c:v>0.0280664212246241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31691828508521</c:v>
                </c:pt>
                <c:pt idx="1">
                  <c:v>0.03636800499611719</c:v>
                </c:pt>
                <c:pt idx="2">
                  <c:v>0.12183872576169986</c:v>
                </c:pt>
                <c:pt idx="3">
                  <c:v>0.268031388063395</c:v>
                </c:pt>
                <c:pt idx="4">
                  <c:v>0.3948590001478499</c:v>
                </c:pt>
                <c:pt idx="5">
                  <c:v>0.17344449652797622</c:v>
                </c:pt>
                <c:pt idx="6">
                  <c:v>0.00082669267445327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622257158449823</c:v>
                </c:pt>
                <c:pt idx="1">
                  <c:v>0.03636797733600861</c:v>
                </c:pt>
                <c:pt idx="2">
                  <c:v>0.12183221813150324</c:v>
                </c:pt>
                <c:pt idx="3">
                  <c:v>0.24557339565469422</c:v>
                </c:pt>
                <c:pt idx="4">
                  <c:v>0.39181127408597655</c:v>
                </c:pt>
                <c:pt idx="5">
                  <c:v>0.15098529393592028</c:v>
                </c:pt>
                <c:pt idx="6">
                  <c:v>0.00072942708194318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82166374765753</c:v>
                </c:pt>
                <c:pt idx="4">
                  <c:v>0.009805396993042064</c:v>
                </c:pt>
                <c:pt idx="5">
                  <c:v>0.00484415941463504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2457786780451735</c:v>
                </c:pt>
                <c:pt idx="4">
                  <c:v>0.001129680431727277</c:v>
                </c:pt>
                <c:pt idx="5">
                  <c:v>0.02145250157610300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39360424563677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34670810189</c:v>
                </c:pt>
                <c:pt idx="2">
                  <c:v>0.11804545324376452</c:v>
                </c:pt>
                <c:pt idx="3">
                  <c:v>0.2514982742212743</c:v>
                </c:pt>
                <c:pt idx="4">
                  <c:v>0.4056119547908503</c:v>
                </c:pt>
                <c:pt idx="5">
                  <c:v>0.18182419182032925</c:v>
                </c:pt>
                <c:pt idx="6">
                  <c:v>0.0005791065947585685</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140672620921179</c:v>
                </c:pt>
                <c:pt idx="1">
                  <c:v>0.03830029276326602</c:v>
                </c:pt>
                <c:pt idx="2">
                  <c:v>0.11804540682611504</c:v>
                </c:pt>
                <c:pt idx="3">
                  <c:v>0.22786137714233431</c:v>
                </c:pt>
                <c:pt idx="4">
                  <c:v>0.40096378169939534</c:v>
                </c:pt>
                <c:pt idx="5">
                  <c:v>0.157253004056497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866286091035014</c:v>
                </c:pt>
                <c:pt idx="4">
                  <c:v>0.01030577826057263</c:v>
                </c:pt>
                <c:pt idx="5">
                  <c:v>0.00615461023274749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2363668255412755</c:v>
                </c:pt>
                <c:pt idx="4">
                  <c:v>0.0009246232684919877</c:v>
                </c:pt>
                <c:pt idx="5">
                  <c:v>0.0235720892585656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461614867691552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903688310259</c:v>
                </c:pt>
                <c:pt idx="1">
                  <c:v>0.03378225415551858</c:v>
                </c:pt>
                <c:pt idx="2">
                  <c:v>0.12828871256157567</c:v>
                </c:pt>
                <c:pt idx="3">
                  <c:v>0.28029389908295005</c:v>
                </c:pt>
                <c:pt idx="4">
                  <c:v>0.3808636038851875</c:v>
                </c:pt>
                <c:pt idx="5">
                  <c:v>0.16506452973884406</c:v>
                </c:pt>
                <c:pt idx="6">
                  <c:v>0.004882096887613894</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6824786587581822</c:v>
                </c:pt>
                <c:pt idx="1">
                  <c:v>0.03378225415551858</c:v>
                </c:pt>
                <c:pt idx="2">
                  <c:v>0.12828871256157567</c:v>
                </c:pt>
                <c:pt idx="3">
                  <c:v>0.24831542876748866</c:v>
                </c:pt>
                <c:pt idx="4">
                  <c:v>0.3775112409787103</c:v>
                </c:pt>
                <c:pt idx="5">
                  <c:v>0.1354785948244373</c:v>
                </c:pt>
                <c:pt idx="6">
                  <c:v>0.00488209688761389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626735540544363</c:v>
                </c:pt>
                <c:pt idx="4">
                  <c:v>0.013328920479123485</c:v>
                </c:pt>
                <c:pt idx="5">
                  <c:v>0.00674444410308136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1978470315461395</c:v>
                </c:pt>
                <c:pt idx="4">
                  <c:v>0.0019773970547572925</c:v>
                </c:pt>
                <c:pt idx="5">
                  <c:v>0.0280664212246241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695426258605541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11789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342274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640591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64177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37765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78842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21957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2025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696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69992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9738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474554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356317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90714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485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7849947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76264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92856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244611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gment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68256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Kiri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06643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9832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12150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La Vache Qui Rit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242055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NATIONAL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9871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Carrefour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681802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Size Bracket By Sector | Intermarche | Boursin | P12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23004">
                <a:tc>
                  <a:txBody>
                    <a:bodyPr/>
                    <a:lstStyle/>
                    <a:p>
                      <a:pPr algn="ctr">
                        <a:defRPr sz="700">
                          <a:latin typeface="Nexa Bold"/>
                        </a:defRPr>
                      </a:pPr>
                      <a:r>
                        <a:t>550+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423004">
                <a:tc>
                  <a:txBody>
                    <a:bodyPr/>
                    <a:lstStyle/>
                    <a:p>
                      <a:pPr algn="ctr">
                        <a:defRPr sz="700">
                          <a:latin typeface="Nexa Bold"/>
                        </a:defRPr>
                      </a:pPr>
                      <a:r>
                        <a:t>450-5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423004">
                <a:tc>
                  <a:txBody>
                    <a:bodyPr/>
                    <a:lstStyle/>
                    <a:p>
                      <a:pPr algn="ctr">
                        <a:defRPr sz="700">
                          <a:latin typeface="Nexa Bold"/>
                        </a:defRPr>
                      </a:pPr>
                      <a:r>
                        <a:t>350-4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423004">
                <a:tc>
                  <a:txBody>
                    <a:bodyPr/>
                    <a:lstStyle/>
                    <a:p>
                      <a:pPr algn="ctr">
                        <a:defRPr sz="700">
                          <a:latin typeface="Nexa Bold"/>
                        </a:defRPr>
                      </a:pPr>
                      <a:r>
                        <a:t>250-3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423004">
                <a:tc>
                  <a:txBody>
                    <a:bodyPr/>
                    <a:lstStyle/>
                    <a:p>
                      <a:pPr algn="ctr">
                        <a:defRPr sz="700">
                          <a:latin typeface="Nexa Bold"/>
                        </a:defRPr>
                      </a:pPr>
                      <a:r>
                        <a:t>150-2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423004">
                <a:tc>
                  <a:txBody>
                    <a:bodyPr/>
                    <a:lstStyle/>
                    <a:p>
                      <a:pPr algn="ctr">
                        <a:defRPr sz="700">
                          <a:latin typeface="Nexa Bold"/>
                        </a:defRPr>
                      </a:pPr>
                      <a:r>
                        <a:t>50-1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423004">
                <a:tc>
                  <a:txBody>
                    <a:bodyPr/>
                    <a:lstStyle/>
                    <a:p>
                      <a:pPr algn="ctr">
                        <a:defRPr sz="700">
                          <a:latin typeface="Nexa Bold"/>
                        </a:defRPr>
                      </a:pPr>
                      <a:r>
                        <a:t>0-49 GR</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634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